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5084" r:id="rId6"/>
  </p:sldMasterIdLst>
  <p:notesMasterIdLst>
    <p:notesMasterId r:id="rId22"/>
  </p:notesMasterIdLst>
  <p:handoutMasterIdLst>
    <p:handoutMasterId r:id="rId23"/>
  </p:handoutMasterIdLst>
  <p:sldIdLst>
    <p:sldId id="386" r:id="rId7"/>
    <p:sldId id="392" r:id="rId8"/>
    <p:sldId id="397" r:id="rId9"/>
    <p:sldId id="409" r:id="rId10"/>
    <p:sldId id="410" r:id="rId11"/>
    <p:sldId id="411" r:id="rId12"/>
    <p:sldId id="412" r:id="rId13"/>
    <p:sldId id="413" r:id="rId14"/>
    <p:sldId id="414" r:id="rId15"/>
    <p:sldId id="415" r:id="rId16"/>
    <p:sldId id="416" r:id="rId17"/>
    <p:sldId id="417" r:id="rId18"/>
    <p:sldId id="418" r:id="rId19"/>
    <p:sldId id="419" r:id="rId20"/>
    <p:sldId id="396" r:id="rId21"/>
  </p:sldIdLst>
  <p:sldSz cx="12192000" cy="6858000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3" orient="horz" pos="2184" userDrawn="1">
          <p15:clr>
            <a:srgbClr val="A4A3A4"/>
          </p15:clr>
        </p15:guide>
        <p15:guide id="4" orient="horz" pos="3528" userDrawn="1">
          <p15:clr>
            <a:srgbClr val="A4A3A4"/>
          </p15:clr>
        </p15:guide>
        <p15:guide id="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D5C4"/>
    <a:srgbClr val="65C4DB"/>
    <a:srgbClr val="F5A992"/>
    <a:srgbClr val="00416A"/>
    <a:srgbClr val="FFFFFF"/>
    <a:srgbClr val="DFDFE1"/>
    <a:srgbClr val="FFD500"/>
    <a:srgbClr val="333F48"/>
    <a:srgbClr val="ED1C24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6" autoAdjust="0"/>
    <p:restoredTop sz="93112" autoAdjust="0"/>
  </p:normalViewPr>
  <p:slideViewPr>
    <p:cSldViewPr snapToGrid="0" snapToObjects="1">
      <p:cViewPr varScale="1">
        <p:scale>
          <a:sx n="74" d="100"/>
          <a:sy n="74" d="100"/>
        </p:scale>
        <p:origin x="48" y="378"/>
      </p:cViewPr>
      <p:guideLst>
        <p:guide orient="horz"/>
        <p:guide orient="horz" pos="2184"/>
        <p:guide orient="horz" pos="3528"/>
        <p:guide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74" d="100"/>
          <a:sy n="74" d="100"/>
        </p:scale>
        <p:origin x="2124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33B2D-7EE6-40D0-B8E5-54FD5F46DDA6}" type="datetimeFigureOut">
              <a:rPr lang="en-US" smtClean="0"/>
              <a:t>4/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962666-3E3A-4044-82EF-DED745118DC3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199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70E0C9-048D-4F47-870E-3BFCAC7E8546}" type="datetimeFigureOut">
              <a:rPr lang="en-US" smtClean="0"/>
              <a:pPr/>
              <a:t>4/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832"/>
            <a:ext cx="5438140" cy="4466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8BF02C-2B30-4A7F-9DCE-38E6C5A43D8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306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40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Shape 15"/>
          <p:cNvSpPr txBox="1">
            <a:spLocks noGrp="1"/>
          </p:cNvSpPr>
          <p:nvPr>
            <p:ph type="body" idx="2" hasCustomPrompt="1"/>
          </p:nvPr>
        </p:nvSpPr>
        <p:spPr>
          <a:xfrm>
            <a:off x="1037371" y="2645170"/>
            <a:ext cx="5546991" cy="903551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lnSpc>
                <a:spcPct val="120000"/>
              </a:lnSpc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1" i="0" u="none" strike="noStrike" cap="none" baseline="0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ub-title 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body" idx="3" hasCustomPrompt="1"/>
          </p:nvPr>
        </p:nvSpPr>
        <p:spPr>
          <a:xfrm>
            <a:off x="1037368" y="3911531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DD/MM/YY</a:t>
            </a:r>
            <a:endParaRPr dirty="0"/>
          </a:p>
        </p:txBody>
      </p:sp>
      <p:sp>
        <p:nvSpPr>
          <p:cNvPr id="17" name="Shape 17"/>
          <p:cNvSpPr txBox="1">
            <a:spLocks noGrp="1"/>
          </p:cNvSpPr>
          <p:nvPr>
            <p:ph type="body" idx="4" hasCustomPrompt="1"/>
          </p:nvPr>
        </p:nvSpPr>
        <p:spPr>
          <a:xfrm>
            <a:off x="1037368" y="4221906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</a:t>
            </a:r>
            <a:r>
              <a:rPr lang="fr-FR" dirty="0" err="1"/>
              <a:t>name</a:t>
            </a:r>
            <a:r>
              <a:rPr lang="fr-FR" dirty="0"/>
              <a:t> / </a:t>
            </a:r>
            <a:r>
              <a:rPr lang="fr-FR" dirty="0" err="1"/>
              <a:t>Department</a:t>
            </a:r>
            <a:r>
              <a:rPr lang="fr-FR" dirty="0"/>
              <a:t> / </a:t>
            </a:r>
            <a:r>
              <a:rPr lang="fr-FR" dirty="0" err="1"/>
              <a:t>Author</a:t>
            </a:r>
            <a:r>
              <a:rPr lang="fr-FR" dirty="0"/>
              <a:t> </a:t>
            </a:r>
            <a:endParaRPr dirty="0"/>
          </a:p>
        </p:txBody>
      </p:sp>
      <p:sp>
        <p:nvSpPr>
          <p:cNvPr id="11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5483" y="1963155"/>
            <a:ext cx="5629396" cy="5417596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1036960" y="623513"/>
            <a:ext cx="6138332" cy="1867301"/>
          </a:xfrm>
        </p:spPr>
        <p:txBody>
          <a:bodyPr anchor="ctr"/>
          <a:lstStyle>
            <a:lvl1pPr marL="0" marR="0" indent="0" algn="l" defTabSz="939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600" b="0">
                <a:solidFill>
                  <a:schemeClr val="bg1"/>
                </a:solidFill>
                <a:cs typeface="+mj-cs"/>
              </a:defRPr>
            </a:lvl1pPr>
          </a:lstStyle>
          <a:p>
            <a:pPr marL="0" marR="0" lvl="0" indent="0" algn="l" defTabSz="939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541379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ark Grey Divider">
    <p:bg>
      <p:bgPr>
        <a:solidFill>
          <a:schemeClr val="accent2"/>
        </a:solidFill>
        <a:effectLst/>
      </p:bgPr>
    </p:bg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5997262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ight Grey Divider">
    <p:bg>
      <p:bgPr>
        <a:solidFill>
          <a:srgbClr val="DFDFE1"/>
        </a:solidFill>
        <a:effectLst/>
      </p:bgPr>
    </p:bg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2195858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ue Divider">
    <p:bg>
      <p:bgPr>
        <a:solidFill>
          <a:schemeClr val="accent3"/>
        </a:solidFill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7110761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urquoise Divider">
    <p:bg>
      <p:bgPr>
        <a:solidFill>
          <a:srgbClr val="2CD5C4"/>
        </a:solidFill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9217443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Divider">
    <p:bg>
      <p:bgPr>
        <a:solidFill>
          <a:schemeClr val="accent4"/>
        </a:solidFill>
        <a:effectLst/>
      </p:bgPr>
    </p:bg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8244721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range Divider">
    <p:bg>
      <p:bgPr>
        <a:solidFill>
          <a:schemeClr val="accent5"/>
        </a:solid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9300752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Yellow Divider">
    <p:bg>
      <p:bgPr>
        <a:solidFill>
          <a:schemeClr val="accent6"/>
        </a:solidFill>
        <a:effectLst/>
      </p:bgPr>
    </p:bg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13812348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lmon Pink Divider">
    <p:bg>
      <p:bgPr>
        <a:solidFill>
          <a:srgbClr val="F5A992"/>
        </a:solidFill>
        <a:effectLst/>
      </p:bgPr>
    </p:bg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0036969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Shape 14"/>
          <p:cNvSpPr txBox="1">
            <a:spLocks noGrp="1"/>
          </p:cNvSpPr>
          <p:nvPr>
            <p:ph type="body" idx="1" hasCustomPrompt="1"/>
          </p:nvPr>
        </p:nvSpPr>
        <p:spPr>
          <a:xfrm>
            <a:off x="1037375" y="2286353"/>
            <a:ext cx="6138332" cy="62577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buClr>
                <a:schemeClr val="lt1"/>
              </a:buClr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Thank You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body" idx="3"/>
          </p:nvPr>
        </p:nvSpPr>
        <p:spPr>
          <a:xfrm>
            <a:off x="1037368" y="4222427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Shape 17"/>
          <p:cNvSpPr txBox="1">
            <a:spLocks noGrp="1"/>
          </p:cNvSpPr>
          <p:nvPr>
            <p:ph type="body" idx="4"/>
          </p:nvPr>
        </p:nvSpPr>
        <p:spPr>
          <a:xfrm>
            <a:off x="1037368" y="4532802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95391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Shape 14"/>
          <p:cNvSpPr txBox="1">
            <a:spLocks noGrp="1"/>
          </p:cNvSpPr>
          <p:nvPr>
            <p:ph type="body" idx="1" hasCustomPrompt="1"/>
          </p:nvPr>
        </p:nvSpPr>
        <p:spPr>
          <a:xfrm>
            <a:off x="1037375" y="2286353"/>
            <a:ext cx="6138332" cy="62577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buClr>
                <a:schemeClr val="lt1"/>
              </a:buClr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Thank You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body" idx="3"/>
          </p:nvPr>
        </p:nvSpPr>
        <p:spPr>
          <a:xfrm>
            <a:off x="1037368" y="4222427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Shape 17"/>
          <p:cNvSpPr txBox="1">
            <a:spLocks noGrp="1"/>
          </p:cNvSpPr>
          <p:nvPr>
            <p:ph type="body" idx="4"/>
          </p:nvPr>
        </p:nvSpPr>
        <p:spPr>
          <a:xfrm>
            <a:off x="1037368" y="4532802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pic>
        <p:nvPicPr>
          <p:cNvPr id="11" name="Shape 156" descr="Indonesia_0483_extract copy.png"/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8213080" y="1647223"/>
            <a:ext cx="2760621" cy="50971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19163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Shape 15"/>
          <p:cNvSpPr txBox="1">
            <a:spLocks noGrp="1"/>
          </p:cNvSpPr>
          <p:nvPr>
            <p:ph type="body" idx="2" hasCustomPrompt="1"/>
          </p:nvPr>
        </p:nvSpPr>
        <p:spPr>
          <a:xfrm>
            <a:off x="1037371" y="2645170"/>
            <a:ext cx="5546991" cy="903551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lnSpc>
                <a:spcPct val="120000"/>
              </a:lnSpc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1" i="0" u="none" strike="noStrike" cap="none" baseline="0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ub-title </a:t>
            </a:r>
            <a:endParaRPr dirty="0"/>
          </a:p>
        </p:txBody>
      </p:sp>
      <p:sp>
        <p:nvSpPr>
          <p:cNvPr id="21" name="Shape 16"/>
          <p:cNvSpPr txBox="1">
            <a:spLocks noGrp="1"/>
          </p:cNvSpPr>
          <p:nvPr>
            <p:ph type="body" idx="3" hasCustomPrompt="1"/>
          </p:nvPr>
        </p:nvSpPr>
        <p:spPr>
          <a:xfrm>
            <a:off x="1037368" y="3911531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DD/MM/YY</a:t>
            </a:r>
            <a:endParaRPr dirty="0"/>
          </a:p>
        </p:txBody>
      </p:sp>
      <p:sp>
        <p:nvSpPr>
          <p:cNvPr id="22" name="Shape 17"/>
          <p:cNvSpPr txBox="1">
            <a:spLocks noGrp="1"/>
          </p:cNvSpPr>
          <p:nvPr>
            <p:ph type="body" idx="4" hasCustomPrompt="1"/>
          </p:nvPr>
        </p:nvSpPr>
        <p:spPr>
          <a:xfrm>
            <a:off x="1037368" y="4221906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</a:t>
            </a:r>
            <a:r>
              <a:rPr lang="fr-FR" dirty="0" err="1"/>
              <a:t>name</a:t>
            </a:r>
            <a:r>
              <a:rPr lang="fr-FR" dirty="0"/>
              <a:t> / </a:t>
            </a:r>
            <a:r>
              <a:rPr lang="fr-FR" dirty="0" err="1"/>
              <a:t>Department</a:t>
            </a:r>
            <a:r>
              <a:rPr lang="fr-FR" dirty="0"/>
              <a:t> / </a:t>
            </a:r>
            <a:r>
              <a:rPr lang="fr-FR" dirty="0" err="1"/>
              <a:t>Author</a:t>
            </a:r>
            <a:r>
              <a:rPr lang="fr-FR" dirty="0"/>
              <a:t> </a:t>
            </a:r>
            <a:endParaRPr dirty="0"/>
          </a:p>
        </p:txBody>
      </p:sp>
      <p:sp>
        <p:nvSpPr>
          <p:cNvPr id="23" name="Title 21"/>
          <p:cNvSpPr>
            <a:spLocks noGrp="1"/>
          </p:cNvSpPr>
          <p:nvPr>
            <p:ph type="title"/>
          </p:nvPr>
        </p:nvSpPr>
        <p:spPr>
          <a:xfrm>
            <a:off x="1036960" y="623513"/>
            <a:ext cx="6138332" cy="1867301"/>
          </a:xfrm>
        </p:spPr>
        <p:txBody>
          <a:bodyPr anchor="ctr"/>
          <a:lstStyle>
            <a:lvl1pPr marL="0" marR="0" indent="0" algn="l" defTabSz="939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600" b="0">
                <a:solidFill>
                  <a:schemeClr val="bg1"/>
                </a:solidFill>
                <a:cs typeface="+mj-cs"/>
              </a:defRPr>
            </a:lvl1pPr>
          </a:lstStyle>
          <a:p>
            <a:pPr marL="0" marR="0" lvl="0" indent="0" algn="l" defTabSz="939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0628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Numbered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10312" marR="0" indent="-274320" algn="l" defTabSz="70485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ED1C24"/>
              </a:buClr>
              <a:buSzPct val="125000"/>
              <a:buFont typeface="+mj-lt"/>
              <a:buAutoNum type="arabicPeriod"/>
              <a:tabLst/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 sz="1000"/>
            </a:lvl5pPr>
            <a:lvl6pPr marL="1645920" indent="-274320">
              <a:spcBef>
                <a:spcPts val="450"/>
              </a:spcBef>
              <a:buFont typeface="+mj-lt"/>
              <a:buAutoNum type="arabicPeriod"/>
              <a:defRPr/>
            </a:lvl6pPr>
            <a:lvl7pPr marL="1920240" indent="-274320">
              <a:spcBef>
                <a:spcPts val="450"/>
              </a:spcBef>
              <a:buFont typeface="+mj-lt"/>
              <a:buAutoNum type="arabicPeriod"/>
              <a:defRPr/>
            </a:lvl7pPr>
            <a:lvl8pPr marL="2194560" indent="-274320">
              <a:spcBef>
                <a:spcPts val="450"/>
              </a:spcBef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1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2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3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4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5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6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7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endParaRPr lang="en-US" dirty="0"/>
          </a:p>
          <a:p>
            <a:pPr lvl="2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2D074245-C7A5-47FB-834A-490E3A3C8EC9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2" name="TextBox 1"/>
          <p:cNvSpPr txBox="1"/>
          <p:nvPr userDrawn="1"/>
        </p:nvSpPr>
        <p:spPr>
          <a:xfrm>
            <a:off x="1447675" y="6607125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  <a:buClr>
                <a:srgbClr val="ED1C24"/>
              </a:buClr>
              <a:buSzPct val="140000"/>
            </a:pPr>
            <a:endParaRPr lang="en-US" sz="1200" dirty="0" err="1">
              <a:solidFill>
                <a:srgbClr val="000000"/>
              </a:solidFill>
              <a:latin typeface="Noto Sans" panose="020B0502040504020204" pitchFamily="34" charset="0"/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182374934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/>
            </a:lvl1pPr>
            <a:lvl2pPr marL="205740" indent="0">
              <a:lnSpc>
                <a:spcPct val="100000"/>
              </a:lnSpc>
              <a:spcBef>
                <a:spcPts val="450"/>
              </a:spcBef>
              <a:buNone/>
              <a:defRPr/>
            </a:lvl2pPr>
            <a:lvl3pPr marL="411480" indent="0">
              <a:lnSpc>
                <a:spcPct val="100000"/>
              </a:lnSpc>
              <a:spcBef>
                <a:spcPts val="450"/>
              </a:spcBef>
              <a:buNone/>
              <a:defRPr/>
            </a:lvl3pPr>
            <a:lvl4pPr marL="557213" indent="0">
              <a:lnSpc>
                <a:spcPct val="100000"/>
              </a:lnSpc>
              <a:spcBef>
                <a:spcPts val="450"/>
              </a:spcBef>
              <a:buNone/>
              <a:defRPr/>
            </a:lvl4pPr>
            <a:lvl5pPr marL="694373" indent="0">
              <a:lnSpc>
                <a:spcPct val="100000"/>
              </a:lnSpc>
              <a:spcBef>
                <a:spcPts val="450"/>
              </a:spcBef>
              <a:buNone/>
              <a:defRPr sz="75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66C5A71A-D50D-4CA3-A00F-BA390DB29567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419494114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011419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0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900"/>
              </a:spcBef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defRPr sz="1000"/>
            </a:lvl5pPr>
            <a:lvl6pPr marL="1645920" indent="-274320">
              <a:spcBef>
                <a:spcPts val="450"/>
              </a:spcBef>
              <a:defRPr/>
            </a:lvl6pPr>
            <a:lvl7pPr marL="1920240" indent="-274320">
              <a:spcBef>
                <a:spcPts val="450"/>
              </a:spcBef>
              <a:defRPr/>
            </a:lvl7pPr>
            <a:lvl8pPr marL="2194560" indent="-274320">
              <a:spcBef>
                <a:spcPts val="450"/>
              </a:spcBef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56D34DFD-204B-42C8-BF5A-D2F244A26FA0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17984" y="1271588"/>
            <a:ext cx="5237913" cy="47037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6" y="1272212"/>
            <a:ext cx="5272325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900"/>
              </a:spcBef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defRPr sz="1000"/>
            </a:lvl5pPr>
            <a:lvl6pPr marL="1645920" indent="-274320">
              <a:spcBef>
                <a:spcPts val="450"/>
              </a:spcBef>
              <a:defRPr/>
            </a:lvl6pPr>
            <a:lvl7pPr marL="1920240" indent="-274320">
              <a:spcBef>
                <a:spcPts val="450"/>
              </a:spcBef>
              <a:defRPr/>
            </a:lvl7pPr>
            <a:lvl8pPr marL="2194560" indent="-274320">
              <a:spcBef>
                <a:spcPts val="450"/>
              </a:spcBef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D4103FD4-0D33-4291-9C4C-A7B9200815F5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61475204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4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88D508E4-025C-4216-B27A-3B35276FA7A6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70486041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36105" y="1263665"/>
            <a:ext cx="10919792" cy="4711692"/>
          </a:xfrm>
        </p:spPr>
        <p:txBody>
          <a:bodyPr anchor="t" anchorCtr="0"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0E9C9615-ADDF-4EB1-BD4B-1AAC2295AFFE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93033922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ark Blue Divider">
    <p:bg>
      <p:bgPr>
        <a:solidFill>
          <a:srgbClr val="00416A"/>
        </a:solid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  <p:sp>
        <p:nvSpPr>
          <p:cNvPr id="9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357581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61027566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9" name="think-cell Slide" r:id="rId23" imgW="0" imgH="0" progId="TCLayout.ActiveDocument.1">
                  <p:embed/>
                </p:oleObj>
              </mc:Choice>
              <mc:Fallback>
                <p:oleObj name="think-cell Slide" r:id="rId2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85462"/>
            <a:ext cx="10919792" cy="468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en-US" dirty="0"/>
              <a:t>Edit Master text styles</a:t>
            </a:r>
          </a:p>
          <a:p>
            <a:pPr marL="411480" lvl="1" indent="-205740"/>
            <a:r>
              <a:rPr lang="en-US" dirty="0"/>
              <a:t>Second level</a:t>
            </a:r>
          </a:p>
          <a:p>
            <a:pPr marL="548640" lvl="2" indent="-137160"/>
            <a:r>
              <a:rPr lang="en-US" dirty="0"/>
              <a:t>Third level</a:t>
            </a:r>
          </a:p>
          <a:p>
            <a:pPr marL="685800" lvl="3"/>
            <a:r>
              <a:rPr lang="en-US" dirty="0"/>
              <a:t>Fourth level</a:t>
            </a:r>
          </a:p>
          <a:p>
            <a:pPr marL="822960" lvl="4"/>
            <a:r>
              <a:rPr lang="en-US" dirty="0"/>
              <a:t>Fifth level</a:t>
            </a:r>
          </a:p>
          <a:p>
            <a:pPr marL="2167176" lvl="8"/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4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9330A795-F0BE-49AB-B973-4C47DE79D5F7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636904" y="6479648"/>
            <a:ext cx="1296000" cy="22809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36" r:id="rId1"/>
    <p:sldLayoutId id="2147485137" r:id="rId2"/>
    <p:sldLayoutId id="2147485123" r:id="rId3"/>
    <p:sldLayoutId id="2147485127" r:id="rId4"/>
    <p:sldLayoutId id="2147485086" r:id="rId5"/>
    <p:sldLayoutId id="2147485132" r:id="rId6"/>
    <p:sldLayoutId id="2147485096" r:id="rId7"/>
    <p:sldLayoutId id="2147485131" r:id="rId8"/>
    <p:sldLayoutId id="2147485138" r:id="rId9"/>
    <p:sldLayoutId id="2147485139" r:id="rId10"/>
    <p:sldLayoutId id="2147485140" r:id="rId11"/>
    <p:sldLayoutId id="2147485141" r:id="rId12"/>
    <p:sldLayoutId id="2147485142" r:id="rId13"/>
    <p:sldLayoutId id="2147485143" r:id="rId14"/>
    <p:sldLayoutId id="2147485144" r:id="rId15"/>
    <p:sldLayoutId id="2147485145" r:id="rId16"/>
    <p:sldLayoutId id="2147485146" r:id="rId17"/>
    <p:sldLayoutId id="2147485147" r:id="rId18"/>
    <p:sldLayoutId id="2147485148" r:id="rId19"/>
  </p:sldLayoutIdLst>
  <p:transition/>
  <p:hf hd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800" b="1" kern="1200">
          <a:solidFill>
            <a:schemeClr val="accent1"/>
          </a:solidFill>
          <a:latin typeface="Ooredoo Heavy" panose="00000A00000000000000" pitchFamily="50" charset="0"/>
          <a:ea typeface="Ooredoo Heavy" panose="00000A00000000000000" pitchFamily="50" charset="0"/>
          <a:cs typeface="Arial" pitchFamily="34" charset="0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3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6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4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4pPr>
      <a:lvl5pPr marL="753665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000" i="0" kern="1200" dirty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Arial" charset="0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8pPr>
      <a:lvl9pPr marL="20978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152" userDrawn="1">
          <p15:clr>
            <a:srgbClr val="F26B43"/>
          </p15:clr>
        </p15:guide>
        <p15:guide id="2" pos="3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dirty="0" smtClean="0"/>
              <a:t>Nom de </a:t>
            </a:r>
            <a:r>
              <a:rPr lang="en-US" dirty="0" err="1" smtClean="0"/>
              <a:t>votre</a:t>
            </a:r>
            <a:r>
              <a:rPr lang="en-US" dirty="0" smtClean="0"/>
              <a:t> </a:t>
            </a:r>
            <a:r>
              <a:rPr lang="en-US" dirty="0" err="1" smtClean="0"/>
              <a:t>proje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entury Gothic" panose="020B0502020202020204" pitchFamily="34" charset="0"/>
                <a:ea typeface="ＭＳ Ｐゴシック" charset="-128"/>
              </a:rPr>
              <a:t>Business Plan Template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276574554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>
                <a:latin typeface="Century Gothic" panose="020B0502020202020204" pitchFamily="34" charset="0"/>
              </a:rPr>
              <a:t>Différentiatio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8D508E4-025C-4216-B27A-3B35276FA7A6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351692" y="1133423"/>
            <a:ext cx="8436708" cy="4841927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smtClean="0">
                <a:latin typeface="Century Gothic" panose="020B0502020202020204" pitchFamily="34" charset="0"/>
              </a:rPr>
              <a:t>Décrivez  pourquoi la solution que vous proposez est meilleure que les solutions existantes</a:t>
            </a:r>
          </a:p>
          <a:p>
            <a:pPr lvl="1"/>
            <a:r>
              <a:rPr lang="fr-FR" altLang="fr-FR" kern="0" smtClean="0">
                <a:latin typeface="Century Gothic" panose="020B0502020202020204" pitchFamily="34" charset="0"/>
              </a:rPr>
              <a:t>Est-elle moins  chère, plus rapide, meilleure, plus accessible, plus facile à utiliser…?</a:t>
            </a:r>
          </a:p>
          <a:p>
            <a:pPr>
              <a:buFont typeface="Wingdings 3" charset="2"/>
              <a:buNone/>
            </a:pPr>
            <a:endParaRPr lang="fr-FR" altLang="fr-FR" kern="0" smtClean="0">
              <a:latin typeface="Century Gothic" panose="020B0502020202020204" pitchFamily="34" charset="0"/>
            </a:endParaRPr>
          </a:p>
          <a:p>
            <a:endParaRPr lang="fr-FR" altLang="fr-FR" ker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4204909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>
                <a:latin typeface="Century Gothic" panose="020B0502020202020204" pitchFamily="34" charset="0"/>
              </a:rPr>
              <a:t>Stratégie de conquête du marché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8D508E4-025C-4216-B27A-3B35276FA7A6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351692" y="1163586"/>
            <a:ext cx="8436708" cy="4841927"/>
          </a:xfrm>
          <a:prstGeom prst="rect">
            <a:avLst/>
          </a:prstGeom>
        </p:spPr>
        <p:txBody>
          <a:bodyPr rtlCol="0">
            <a:normAutofit/>
          </a:bodyPr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Décrivez la manière dont vous allez atteindre la clientèle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Vente directe</a:t>
            </a:r>
            <a:endParaRPr lang="fr-FR" kern="0" smtClean="0">
              <a:solidFill>
                <a:srgbClr val="FF0000"/>
              </a:solidFill>
              <a:latin typeface="Century Gothic" panose="020B050202020202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Vente indirecte</a:t>
            </a:r>
            <a:endParaRPr lang="fr-FR" kern="0" smtClean="0">
              <a:solidFill>
                <a:srgbClr val="FF0000"/>
              </a:solidFill>
              <a:latin typeface="Century Gothic" panose="020B050202020202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Via des Distributeur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Vente en ligne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Travailler en coopération avec des partenaire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…</a:t>
            </a:r>
          </a:p>
          <a:p>
            <a:pPr fontAlgn="auto">
              <a:spcAft>
                <a:spcPts val="0"/>
              </a:spcAft>
              <a:buFont typeface="Wingdings 3" charset="2"/>
              <a:buNone/>
              <a:defRPr/>
            </a:pPr>
            <a:endParaRPr lang="fr-FR" ker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3750577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>
                <a:latin typeface="Century Gothic" panose="020B0502020202020204" pitchFamily="34" charset="0"/>
              </a:rPr>
              <a:t>Modèle de busines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8D508E4-025C-4216-B27A-3B35276FA7A6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351692" y="1133423"/>
            <a:ext cx="8436708" cy="4841927"/>
          </a:xfrm>
          <a:prstGeom prst="rect">
            <a:avLst/>
          </a:prstGeom>
        </p:spPr>
        <p:txBody>
          <a:bodyPr rtlCol="0">
            <a:normAutofit/>
          </a:bodyPr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Décrivez  comment vous ferez payer  vos solutions</a:t>
            </a:r>
            <a:endParaRPr lang="fr-FR" sz="1000" kern="0" smtClean="0">
              <a:latin typeface="Century Gothic" panose="020B050202020202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Paiement d’une licence définitive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Modèle de location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Modèle de subvention</a:t>
            </a:r>
          </a:p>
          <a:p>
            <a:pPr fontAlgn="auto">
              <a:spcAft>
                <a:spcPts val="0"/>
              </a:spcAft>
              <a:buFont typeface="Wingdings 3" charset="2"/>
              <a:buNone/>
              <a:defRPr/>
            </a:pPr>
            <a:endParaRPr lang="fr-FR" kern="0" smtClean="0">
              <a:latin typeface="Century Gothic" panose="020B0502020202020204" pitchFamily="34" charset="0"/>
            </a:endParaRPr>
          </a:p>
          <a:p>
            <a:pPr lvl="1" fontAlgn="auto">
              <a:spcAft>
                <a:spcPts val="0"/>
              </a:spcAft>
              <a:buFont typeface="Arial" panose="020B0604020202020204" pitchFamily="34" charset="0"/>
              <a:buChar char="–"/>
              <a:defRPr/>
            </a:pPr>
            <a:endParaRPr lang="fr-FR" ker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356200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>
                <a:latin typeface="Century Gothic" panose="020B0502020202020204" pitchFamily="34" charset="0"/>
              </a:rPr>
              <a:t>Financements détaillé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8D508E4-025C-4216-B27A-3B35276FA7A6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457200" y="1409700"/>
            <a:ext cx="8229600" cy="4525963"/>
          </a:xfrm>
          <a:prstGeom prst="rect">
            <a:avLst/>
          </a:prstGeom>
        </p:spPr>
        <p:txBody>
          <a:bodyPr rtlCol="0">
            <a:normAutofit fontScale="70000" lnSpcReduction="20000"/>
          </a:bodyPr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Indiquez les financements détaillés pour les 3 voir les 5 prochaines années (chiffres annuels)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Chiffre d’affaire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Coûts des biens vendu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Marges brute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Coûts de R &amp; D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Coûts de vente et de marketing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Coûts globaux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Résultats brut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Amortissements et impôt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Résultats net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Dépenses d’investissement</a:t>
            </a:r>
          </a:p>
          <a:p>
            <a:pPr fontAlgn="auto">
              <a:spcAft>
                <a:spcPts val="0"/>
              </a:spcAft>
              <a:buFont typeface="Wingdings 3" charset="2"/>
              <a:buNone/>
              <a:defRPr/>
            </a:pPr>
            <a:endParaRPr lang="fr-FR" sz="2100" ker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371063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>
                <a:latin typeface="Century Gothic" panose="020B0502020202020204" pitchFamily="34" charset="0"/>
              </a:rPr>
              <a:t>Statut de l’entrepris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8D508E4-025C-4216-B27A-3B35276FA7A6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351692" y="1133423"/>
            <a:ext cx="8436708" cy="4841927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smtClean="0">
                <a:latin typeface="Century Gothic" panose="020B0502020202020204" pitchFamily="34" charset="0"/>
              </a:rPr>
              <a:t>Indiquez si vous avez déjà créer l’entreprise, si vous êtes labélisé, si vous avez obtenu un quelconque financement. </a:t>
            </a:r>
            <a:endParaRPr lang="fr-FR" altLang="fr-FR" ker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8415179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b="1" dirty="0" err="1"/>
              <a:t>Thank</a:t>
            </a:r>
            <a:r>
              <a:rPr lang="fr-FR" b="1" dirty="0"/>
              <a:t> You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950092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>
                <a:latin typeface="Century Gothic" panose="020B0502020202020204" pitchFamily="34" charset="0"/>
              </a:rPr>
              <a:t>Table des matière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8D508E4-025C-4216-B27A-3B35276FA7A6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442913" y="1349375"/>
            <a:ext cx="7068230" cy="4768850"/>
          </a:xfrm>
          <a:prstGeom prst="rect">
            <a:avLst/>
          </a:prstGeom>
        </p:spPr>
        <p:txBody>
          <a:bodyPr rtlCol="0">
            <a:normAutofit fontScale="55000" lnSpcReduction="20000"/>
          </a:bodyPr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Biographies de l’équipe	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Besoins du marché	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Solutions actuelles. 	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Solutions proposées	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Feuille de route du produit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Clientèle ciblée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Les concurrent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Différenciation			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Stratégie de conquête du marché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Modèle de business	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Financements détaillés		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smtClean="0">
                <a:latin typeface="Century Gothic" panose="020B0502020202020204" pitchFamily="34" charset="0"/>
              </a:rPr>
              <a:t>Statut de l’entreprise. 	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fr-FR" sz="2400" kern="0" smtClean="0">
              <a:latin typeface="Century Gothic" panose="020B0502020202020204" pitchFamily="34" charset="0"/>
            </a:endParaRP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fr-FR" sz="2400" b="1" kern="0" smtClean="0">
                <a:latin typeface="Century Gothic" panose="020B0502020202020204" pitchFamily="34" charset="0"/>
              </a:rPr>
              <a:t>                                                Max: 20 diapositives</a:t>
            </a:r>
            <a:endParaRPr lang="fr-FR" sz="2400" b="1" ker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3777621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>
                <a:latin typeface="Century Gothic" panose="020B0502020202020204" pitchFamily="34" charset="0"/>
              </a:rPr>
              <a:t>Biographies de l’équip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8D508E4-025C-4216-B27A-3B35276FA7A6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5"/>
          <p:cNvSpPr txBox="1">
            <a:spLocks/>
          </p:cNvSpPr>
          <p:nvPr/>
        </p:nvSpPr>
        <p:spPr>
          <a:xfrm>
            <a:off x="351692" y="1133423"/>
            <a:ext cx="8792308" cy="4841927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smtClean="0">
                <a:latin typeface="Century Gothic" panose="020B0502020202020204" pitchFamily="34" charset="0"/>
              </a:rPr>
              <a:t>Brève description de chaque membre de l’équipe :</a:t>
            </a:r>
          </a:p>
          <a:p>
            <a:pPr lvl="1"/>
            <a:r>
              <a:rPr lang="fr-FR" altLang="fr-FR" kern="0" smtClean="0">
                <a:latin typeface="Century Gothic" panose="020B0502020202020204" pitchFamily="34" charset="0"/>
              </a:rPr>
              <a:t>Formation</a:t>
            </a:r>
          </a:p>
          <a:p>
            <a:pPr lvl="1"/>
            <a:r>
              <a:rPr lang="fr-FR" altLang="fr-FR" kern="0" smtClean="0">
                <a:latin typeface="Century Gothic" panose="020B0502020202020204" pitchFamily="34" charset="0"/>
              </a:rPr>
              <a:t>Expérience professionnelle</a:t>
            </a:r>
          </a:p>
          <a:p>
            <a:pPr lvl="1"/>
            <a:r>
              <a:rPr lang="fr-FR" altLang="fr-FR" kern="0" smtClean="0">
                <a:latin typeface="Century Gothic" panose="020B0502020202020204" pitchFamily="34" charset="0"/>
              </a:rPr>
              <a:t>Expertise</a:t>
            </a:r>
          </a:p>
          <a:p>
            <a:pPr lvl="1">
              <a:buFont typeface="Arial" panose="020B0604020202020204" pitchFamily="34" charset="0"/>
              <a:buNone/>
            </a:pPr>
            <a:endParaRPr lang="fr-FR" altLang="fr-FR" kern="0" smtClean="0">
              <a:latin typeface="Century Gothic" panose="020B0502020202020204" pitchFamily="34" charset="0"/>
            </a:endParaRPr>
          </a:p>
          <a:p>
            <a:pPr lvl="1">
              <a:buFont typeface="Arial" panose="020B0604020202020204" pitchFamily="34" charset="0"/>
              <a:buNone/>
            </a:pPr>
            <a:r>
              <a:rPr lang="fr-FR" altLang="fr-FR" kern="0" smtClean="0">
                <a:latin typeface="Century Gothic" panose="020B0502020202020204" pitchFamily="34" charset="0"/>
              </a:rPr>
              <a:t>La porteuse de projet est amenée à se présenter et mettre en avant le background de chaque membre de son équipe, y compris le sien. </a:t>
            </a:r>
          </a:p>
          <a:p>
            <a:pPr>
              <a:buFont typeface="Arial" panose="020B0604020202020204" pitchFamily="34" charset="0"/>
              <a:buNone/>
            </a:pPr>
            <a:endParaRPr lang="fr-FR" altLang="fr-FR" ker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7559147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>
                <a:latin typeface="Century Gothic" panose="020B0502020202020204" pitchFamily="34" charset="0"/>
              </a:rPr>
              <a:t>Besoins du marché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8D508E4-025C-4216-B27A-3B35276FA7A6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636104" y="1285462"/>
            <a:ext cx="10919792" cy="4689889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smtClean="0">
                <a:latin typeface="Century Gothic" panose="020B0502020202020204" pitchFamily="34" charset="0"/>
              </a:rPr>
              <a:t>Décrivez  la demande actuelle sur le marché pour la solution particulière que vous proposez. </a:t>
            </a:r>
          </a:p>
          <a:p>
            <a:endParaRPr lang="fr-FR" altLang="fr-FR" ker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05993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>
                <a:latin typeface="Century Gothic" panose="020B0502020202020204" pitchFamily="34" charset="0"/>
              </a:rPr>
              <a:t>Solutions actuelle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8D508E4-025C-4216-B27A-3B35276FA7A6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636104" y="1285462"/>
            <a:ext cx="10919792" cy="4689889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smtClean="0">
                <a:latin typeface="Century Gothic" panose="020B0502020202020204" pitchFamily="34" charset="0"/>
              </a:rPr>
              <a:t>Décrivez quelles solutions actuelles sont disponibles pour répondre aux besoins du marché définis ci-dessus</a:t>
            </a:r>
          </a:p>
          <a:p>
            <a:pPr lvl="1"/>
            <a:r>
              <a:rPr lang="fr-FR" altLang="fr-FR" kern="0" smtClean="0">
                <a:latin typeface="Century Gothic" panose="020B0502020202020204" pitchFamily="34" charset="0"/>
              </a:rPr>
              <a:t>Et  pourquoi ces solutions ne sont-elles pas assez satisfaisantes ou sont-elles trop chères ou encore ne sont-elles pas appréciées par les clients.</a:t>
            </a:r>
          </a:p>
          <a:p>
            <a:pPr>
              <a:buFont typeface="Wingdings 3" charset="2"/>
              <a:buNone/>
            </a:pPr>
            <a:endParaRPr lang="fr-FR" altLang="fr-FR" ker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7736875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>
                <a:latin typeface="Century Gothic" panose="020B0502020202020204" pitchFamily="34" charset="0"/>
              </a:rPr>
              <a:t>Solutions proposée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8D508E4-025C-4216-B27A-3B35276FA7A6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51692" y="1133423"/>
            <a:ext cx="8436708" cy="4841927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smtClean="0">
                <a:latin typeface="Century Gothic" panose="020B0502020202020204" pitchFamily="34" charset="0"/>
              </a:rPr>
              <a:t>Décrivez  votre solution de technologie et comment celle-ci  répond aux besoins du marché défini ci-dessus en mettant en avant la valeur ajoutée de vos produits ou services. </a:t>
            </a:r>
          </a:p>
          <a:p>
            <a:pPr lvl="1"/>
            <a:r>
              <a:rPr lang="fr-FR" altLang="fr-FR" kern="0" smtClean="0">
                <a:latin typeface="Century Gothic" panose="020B0502020202020204" pitchFamily="34" charset="0"/>
              </a:rPr>
              <a:t>Faîtes une description technique de votre solution </a:t>
            </a:r>
            <a:endParaRPr lang="fr-FR" altLang="fr-FR" ker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5882187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>
                <a:latin typeface="Century Gothic" panose="020B0502020202020204" pitchFamily="34" charset="0"/>
              </a:rPr>
              <a:t>Feuille de route du produit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8D508E4-025C-4216-B27A-3B35276FA7A6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250092" y="1088973"/>
            <a:ext cx="8436708" cy="4841927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smtClean="0">
                <a:latin typeface="Century Gothic" panose="020B0502020202020204" pitchFamily="34" charset="0"/>
              </a:rPr>
              <a:t>Décrivez quel(s) produit(s) ou services vous avez l’intention  de développer. </a:t>
            </a:r>
          </a:p>
          <a:p>
            <a:r>
              <a:rPr lang="fr-FR" altLang="fr-FR" kern="0" smtClean="0">
                <a:latin typeface="Century Gothic" panose="020B0502020202020204" pitchFamily="34" charset="0"/>
              </a:rPr>
              <a:t>Schématisez le cycle d’achat pour bien illustrer les différentes fonctionnalités du produit.</a:t>
            </a:r>
            <a:endParaRPr lang="fr-FR" altLang="fr-FR" ker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0175280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>
                <a:latin typeface="Century Gothic" panose="020B0502020202020204" pitchFamily="34" charset="0"/>
              </a:rPr>
              <a:t>Clientèle </a:t>
            </a:r>
            <a:r>
              <a:rPr lang="fr-FR" altLang="fr-FR" dirty="0" smtClean="0">
                <a:latin typeface="Century Gothic" panose="020B0502020202020204" pitchFamily="34" charset="0"/>
              </a:rPr>
              <a:t>ciblé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8D508E4-025C-4216-B27A-3B35276FA7A6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351692" y="1133423"/>
            <a:ext cx="8436708" cy="4841927"/>
          </a:xfrm>
          <a:prstGeom prst="rect">
            <a:avLst/>
          </a:prstGeom>
        </p:spPr>
        <p:txBody>
          <a:bodyPr rtlCol="0">
            <a:normAutofit/>
          </a:bodyPr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Décrivez à quelle clientèle vous avez l’intention de vendre votre</a:t>
            </a:r>
            <a:r>
              <a:rPr lang="fr-FR" sz="1000" kern="0" smtClean="0">
                <a:latin typeface="Century Gothic" panose="020B0502020202020204" pitchFamily="34" charset="0"/>
              </a:rPr>
              <a:t>  </a:t>
            </a:r>
            <a:r>
              <a:rPr lang="fr-FR" kern="0" smtClean="0">
                <a:latin typeface="Century Gothic" panose="020B0502020202020204" pitchFamily="34" charset="0"/>
              </a:rPr>
              <a:t>solution:</a:t>
            </a:r>
            <a:endParaRPr lang="fr-FR" sz="300" kern="0" smtClean="0">
              <a:latin typeface="Century Gothic" panose="020B0502020202020204" pitchFamily="34" charset="0"/>
            </a:endParaRP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Localisation géographique du marché</a:t>
            </a: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Industrie</a:t>
            </a: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Taille des clients</a:t>
            </a: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Particuliers versus  professionnels versus administrations/gouvernement</a:t>
            </a: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Nombre de clients existants</a:t>
            </a: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smtClean="0">
                <a:latin typeface="Century Gothic" panose="020B0502020202020204" pitchFamily="34" charset="0"/>
              </a:rPr>
              <a:t>Taille du marché</a:t>
            </a:r>
            <a:endParaRPr lang="fr-FR" sz="800" kern="0" smtClean="0">
              <a:latin typeface="Century Gothic" panose="020B0502020202020204" pitchFamily="34" charset="0"/>
            </a:endParaRPr>
          </a:p>
          <a:p>
            <a:pPr lvl="1" fontAlgn="auto">
              <a:spcAft>
                <a:spcPts val="0"/>
              </a:spcAft>
              <a:buFont typeface="Arial" panose="020B0604020202020204" pitchFamily="34" charset="0"/>
              <a:buChar char="–"/>
              <a:defRPr/>
            </a:pPr>
            <a:endParaRPr lang="fr-FR" ker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656364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>
                <a:latin typeface="Century Gothic" panose="020B0502020202020204" pitchFamily="34" charset="0"/>
              </a:rPr>
              <a:t>Les concurrent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8D508E4-025C-4216-B27A-3B35276FA7A6}" type="datetime3">
              <a:rPr lang="en-US" smtClean="0"/>
              <a:t>4 April 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351692" y="1133423"/>
            <a:ext cx="8436708" cy="4841927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smtClean="0">
                <a:latin typeface="Century Gothic" panose="020B0502020202020204" pitchFamily="34" charset="0"/>
              </a:rPr>
              <a:t>Indiquez  qui sont vos concurrents et quelles sont les offres qu’ils proposent tout en vous positionnant par rapport à eux. </a:t>
            </a:r>
          </a:p>
          <a:p>
            <a:endParaRPr lang="fr-FR" altLang="fr-FR" ker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370915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8.05_20170507_Ooredoo_template_4x3 ratio_v12">
  <a:themeElements>
    <a:clrScheme name="Ooredoo colours">
      <a:dk1>
        <a:srgbClr val="221E20"/>
      </a:dk1>
      <a:lt1>
        <a:srgbClr val="FFFFFF"/>
      </a:lt1>
      <a:dk2>
        <a:srgbClr val="00416A"/>
      </a:dk2>
      <a:lt2>
        <a:srgbClr val="DFDFE1"/>
      </a:lt2>
      <a:accent1>
        <a:srgbClr val="ED1C24"/>
      </a:accent1>
      <a:accent2>
        <a:srgbClr val="333F48"/>
      </a:accent2>
      <a:accent3>
        <a:srgbClr val="65C4DB"/>
      </a:accent3>
      <a:accent4>
        <a:srgbClr val="99CC00"/>
      </a:accent4>
      <a:accent5>
        <a:srgbClr val="EA9600"/>
      </a:accent5>
      <a:accent6>
        <a:srgbClr val="FFD500"/>
      </a:accent6>
      <a:hlink>
        <a:srgbClr val="2CD5C4"/>
      </a:hlink>
      <a:folHlink>
        <a:srgbClr val="F5A992"/>
      </a:folHlink>
    </a:clrScheme>
    <a:fontScheme name="Custom 10">
      <a:majorFont>
        <a:latin typeface="Ooredoo Heavy"/>
        <a:ea typeface=""/>
        <a:cs typeface="OoredooArabic-Heavy"/>
      </a:majorFont>
      <a:minorFont>
        <a:latin typeface="Noto Sans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Ooredoo Heavy" panose="00000A00000000000000" pitchFamily="50" charset="0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spcBef>
            <a:spcPts val="0"/>
          </a:spcBef>
          <a:spcAft>
            <a:spcPts val="0"/>
          </a:spcAft>
          <a:buClr>
            <a:srgbClr val="ED1C24"/>
          </a:buClr>
          <a:buSzPct val="140000"/>
          <a:defRPr sz="1200" smtClean="0">
            <a:solidFill>
              <a:srgbClr val="000000"/>
            </a:solidFill>
            <a:latin typeface="Noto Sans" panose="020B0502040504020204" pitchFamily="34" charset="0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20170521_Ooredoo_template_16x9 ratio_v16" id="{3C9F0165-EBC2-0F4F-891B-D0BC838951B1}" vid="{046064D4-FC3D-374A-92DE-6B0217C4FE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Assembly>Microsoft.Office.Policy, Version=14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Assembly>Microsoft.Office.Policy, Version=14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Assembly>Microsoft.Office.Policy, Version=14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Assembly>Microsoft.Office.Policy, Version=14.0.0.0, Culture=neutral, PublicKeyToken=71e9bce111e9429c</Assembly>
    <Class>Microsoft.Office.RecordsManagement.Internal.AuditHandler</Class>
    <Data/>
    <Filter/>
  </Receiver>
</spe:Receivers>
</file>

<file path=customXml/item2.xml><?xml version="1.0" encoding="utf-8"?>
<?mso-contentType ?>
<p:Policy xmlns:p="office.server.policy" id="" local="true">
  <p:Name>Document</p:Name>
  <p:Description/>
  <p:Statement/>
  <p:PolicyItems>
    <p:PolicyItem featureId="Microsoft.Office.RecordsManagement.PolicyFeatures.PolicyAudit" staticId="0x0101|8138272" UniqueId="a03ea7de-7be1-408a-b0fc-7c51c15eb37e">
      <p:Name>Auditing</p:Name>
      <p:Description>Audits user actions on documents and list items to the Audit Log.</p:Description>
      <p:CustomData>
        <Audit>
          <Update/>
          <View/>
          <CheckInOut/>
          <MoveCopy/>
          <DeleteRestore/>
        </Audit>
      </p:CustomData>
    </p:PolicyItem>
  </p:PolicyItems>
</p:Policy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968BB369011E4E9677AAFCE72BEEC2" ma:contentTypeVersion="0" ma:contentTypeDescription="Create a new document." ma:contentTypeScope="" ma:versionID="6f68cb32d79bafa3a84431529c310085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389d1f0a791081171bb3912d47a25c4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_dlc_Exemp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8" nillable="true" ma:displayName="Exempt from Policy" ma:hidden="true" ma:internalName="_dlc_Exempt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F037E64-4684-422E-9A61-06772A6A8F93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96CA9A15-E2EB-4439-95FE-847DDBD6ECEB}">
  <ds:schemaRefs>
    <ds:schemaRef ds:uri="office.server.policy"/>
  </ds:schemaRefs>
</ds:datastoreItem>
</file>

<file path=customXml/itemProps3.xml><?xml version="1.0" encoding="utf-8"?>
<ds:datastoreItem xmlns:ds="http://schemas.openxmlformats.org/officeDocument/2006/customXml" ds:itemID="{4A7B182A-41F0-4069-A520-C4DDA6080F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EF96C530-DC39-4D08-91D3-8F9EDC9BC753}">
  <ds:schemaRefs>
    <ds:schemaRef ds:uri="http://purl.org/dc/dcmitype/"/>
    <ds:schemaRef ds:uri="http://purl.org/dc/terms/"/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sharepoint/v3"/>
    <ds:schemaRef ds:uri="http://schemas.microsoft.com/office/2006/metadata/properties"/>
  </ds:schemaRefs>
</ds:datastoreItem>
</file>

<file path=customXml/itemProps5.xml><?xml version="1.0" encoding="utf-8"?>
<ds:datastoreItem xmlns:ds="http://schemas.openxmlformats.org/officeDocument/2006/customXml" ds:itemID="{7DB843D5-1998-43FE-B9A2-9E22A9394C6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oredooTemplate16x9ratio</Template>
  <TotalTime>11</TotalTime>
  <Words>419</Words>
  <Application>Microsoft Office PowerPoint</Application>
  <PresentationFormat>Grand écran</PresentationFormat>
  <Paragraphs>102</Paragraphs>
  <Slides>15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5" baseType="lpstr">
      <vt:lpstr>ＭＳ Ｐゴシック</vt:lpstr>
      <vt:lpstr>Arial</vt:lpstr>
      <vt:lpstr>Calibri</vt:lpstr>
      <vt:lpstr>Century Gothic</vt:lpstr>
      <vt:lpstr>Noto Sans</vt:lpstr>
      <vt:lpstr>Ooredoo Heavy</vt:lpstr>
      <vt:lpstr>OoredooArabic-Heavy</vt:lpstr>
      <vt:lpstr>Wingdings 3</vt:lpstr>
      <vt:lpstr>08.05_20170507_Ooredoo_template_4x3 ratio_v12</vt:lpstr>
      <vt:lpstr>think-cell Slide</vt:lpstr>
      <vt:lpstr>Business Plan Template</vt:lpstr>
      <vt:lpstr>Table des matières</vt:lpstr>
      <vt:lpstr>Biographies de l’équipe</vt:lpstr>
      <vt:lpstr>Besoins du marché</vt:lpstr>
      <vt:lpstr>Solutions actuelles</vt:lpstr>
      <vt:lpstr>Solutions proposées</vt:lpstr>
      <vt:lpstr>Feuille de route du produit</vt:lpstr>
      <vt:lpstr>Clientèle ciblée</vt:lpstr>
      <vt:lpstr>Les concurrents</vt:lpstr>
      <vt:lpstr>Différentiation</vt:lpstr>
      <vt:lpstr>Stratégie de conquête du marché</vt:lpstr>
      <vt:lpstr>Modèle de business</vt:lpstr>
      <vt:lpstr>Financements détaillés</vt:lpstr>
      <vt:lpstr>Statut de l’entreprise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RA LYNN SCHMALLENBERG</dc:creator>
  <cp:lastModifiedBy>Younes BELHINOUS</cp:lastModifiedBy>
  <cp:revision>3</cp:revision>
  <cp:lastPrinted>2017-03-27T07:20:55Z</cp:lastPrinted>
  <dcterms:created xsi:type="dcterms:W3CDTF">2018-11-01T07:34:49Z</dcterms:created>
  <dcterms:modified xsi:type="dcterms:W3CDTF">2022-04-04T09:2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968BB369011E4E9677AAFCE72BEEC2</vt:lpwstr>
  </property>
  <property fmtid="{D5CDD505-2E9C-101B-9397-08002B2CF9AE}" pid="3" name="TitusGUID">
    <vt:lpwstr>11029482-049a-420b-b6ef-503cd8572018</vt:lpwstr>
  </property>
  <property fmtid="{D5CDD505-2E9C-101B-9397-08002B2CF9AE}" pid="4" name="Classification">
    <vt:lpwstr>Internal</vt:lpwstr>
  </property>
</Properties>
</file>